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150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EFEC4-D85C-4261-8CB7-5B1D3D17CD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BB4E3D-E46A-43D8-B038-8B4ACFFCA6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5D322-EF6D-4A29-B484-E315881C66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A99747-CAD9-43F5-BA80-579BAB5E1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26E069-798B-4A40-8D6D-0F26BD172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328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13813-0394-4BA2-A00D-4557A7B49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C834D26-4732-431D-A717-F0E876BCB5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0F5CF2-708C-441D-B600-2980D5CDD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A76A89-34B8-4BF4-9094-3FFB9FE44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DC90B-3DD8-458C-B5F1-9DACCF8E8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7571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401673D-1D75-4873-84DC-02340032F1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D2169C-5DD2-4F26-BB36-E1D3712129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EAF86D-D1EF-4C06-9916-661528337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F9AAD3-9157-4E74-BA7D-DB1AE1628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FF806A-BD73-4373-A126-82F56C3FF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513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1A385-4405-4B88-A1F0-3874C1248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78B42D-A132-4C49-9A6A-93A8E79393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FF2C96-AC50-4D08-8EFD-37746CC1D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7E8E2-7A8D-479F-9B3F-F2EBE4589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0D8BBE-E14D-41EA-B807-135EE8031E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19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D14D2-A2E9-415E-A0C9-3011A10FC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8DA44-4998-42B0-B55B-B9922977D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891A22-9B9F-4133-9025-6AE2ABFDD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E17076-9E15-4941-B9DF-6F9955B92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53557D-659C-42E1-93A6-675BA8630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4672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BE1B0-D034-44AE-A78A-5B2E87E8B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97A52E-5814-45D1-8144-A18B6F3CC2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FD6E26-A4E1-4C45-B38C-5D93EDF53F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205FE2-5DD5-4E02-BEB5-C4C063629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4298C9-7944-4CD9-9DD6-ABB4FC18B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87A92C-2B2B-4F7A-94EB-2A659AB0C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5393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71441-AFD4-4B8E-A111-BF0A38122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2BC1CC-2179-4095-AF86-58456B5839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332825-2B91-4CC8-8263-559DB2C688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497BB2-B0AE-4524-BACA-5992A166ED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7EE9EA-3A77-4061-9069-8D57E7BB9F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DF7888-E338-4B60-9483-2FC539AC62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7B92186-5EE9-4C9C-8137-3BCBA4721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E05BB0-4FF9-4D20-8755-EDA007E46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137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1801C9-3A5E-457A-9387-A230F14CD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12574F-5095-4CB9-A769-20C3419F3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41D01A-6539-41AB-8F8E-DED26F2D6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D966C2-3064-4BC2-A1D0-296C62E36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5264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03919E-7DE1-46DA-A4CC-7238B77F6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F7D4EE-F112-43E8-83ED-898AD8FEE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1BDA15-E0FD-4550-9996-720C2530B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7576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DE137-9FA5-435D-8F4B-C160DF363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E4802F-6165-4D20-ACCB-F451A078F0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28E86D-1425-409B-B345-60A51F11FB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37222A-6B84-4BE6-AFF9-F54C3CAE3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543C98-F0D5-4A78-AA60-3B59DFC1D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F3AE3B-9F62-4C50-AD03-A1416BEDF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429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135A1-0E12-4257-85AC-CA1D0EAAF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E5888-0FC4-41DB-AC8A-8781B986B5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99A749-443F-4AF9-8AD1-66AEC39458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1D2D12-A985-486C-9210-984D6B2437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298887-43D0-481A-A42D-97F40F423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08DCE0-DBBB-4499-8A31-9BD04A2E6A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094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B4DC299-3358-4B76-85E3-0801BA9EE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9444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6" imgW="408" imgH="408" progId="TCLayout.ActiveDocument.1">
                  <p:embed/>
                </p:oleObj>
              </mc:Choice>
              <mc:Fallback>
                <p:oleObj name="think-cell Slide" r:id="rId16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AC19069-7D94-41D1-8454-DB8AE15E7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82E4A3-D152-4EF8-867B-6827EE0A0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2E0C59-13D9-4E83-98B5-6974385A54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91F6E8-3F88-43EC-BFD8-0E52FF5D2C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B9CC08-48A5-4387-81FD-FFB709F23298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4DEB7F-9DA5-4B23-91E5-6F53A7E44A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5E11EE-EC87-43B8-88C4-B8CE623FCA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5C4CF6-EA85-4132-B000-162F6A92DA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014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DA41C6-993E-4296-8313-4676E6AB52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045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BF7587-77C4-4463-ABDC-3AEAF3A2EE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55D771-C11C-4269-B901-FE724BDF19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st 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0A8BAD-A0E2-44F2-98B7-146E363FF25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1381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E73FBDF-2FBE-4DB2-B886-805D4E76A8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563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D531A2-F764-46B5-91D7-E508B5C665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9D9563-E793-4FFD-8B61-B366E3F492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Sl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F68413-4CB1-4505-B151-FBBD7DF5B4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ere is </a:t>
            </a:r>
            <a:r>
              <a:rPr lang="en-US"/>
              <a:t>some text</a:t>
            </a:r>
          </a:p>
        </p:txBody>
      </p:sp>
    </p:spTree>
    <p:extLst>
      <p:ext uri="{BB962C8B-B14F-4D97-AF65-F5344CB8AC3E}">
        <p14:creationId xmlns:p14="http://schemas.microsoft.com/office/powerpoint/2010/main" val="1251615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413jwDXI8Xoq31jZPn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zXRPnqKWQfZGFTDZV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gVGNXQ22pgNj2c9wT0Q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</Words>
  <Application>Microsoft Office PowerPoint</Application>
  <PresentationFormat>Widescreen</PresentationFormat>
  <Paragraphs>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Test Presentation</vt:lpstr>
      <vt:lpstr>First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Presentation</dc:title>
  <dc:creator>Thomas Barnekow</dc:creator>
  <cp:lastModifiedBy>Thomas Barnekow</cp:lastModifiedBy>
  <cp:revision>2</cp:revision>
  <dcterms:created xsi:type="dcterms:W3CDTF">2019-12-02T17:37:17Z</dcterms:created>
  <dcterms:modified xsi:type="dcterms:W3CDTF">2019-12-02T17:38:22Z</dcterms:modified>
</cp:coreProperties>
</file>